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 rtl="0"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B5EAE8-3D48-2D73-C9FA-A2291B2715C8}" v="105" dt="2023-11-06T15:58:35.879"/>
    <p1510:client id="{9D1BC172-0EAD-6968-C181-436101082AB7}" v="35" dt="2023-11-06T07:54:29.632"/>
    <p1510:client id="{3B201212-8717-4CA6-AFFE-B85CC845040B}" v="27" dt="2023-11-06T10:57:57.114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4"/>
    <p:restoredTop sz="94652"/>
  </p:normalViewPr>
  <p:slideViewPr>
    <p:cSldViewPr snapToGrid="0">
      <p:cViewPr varScale="1">
        <p:scale>
          <a:sx n="133" d="100"/>
          <a:sy n="133" d="100"/>
        </p:scale>
        <p:origin x="14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E24FF582-27E0-4C6D-81F0-64140543C51C}" type="datetimeFigureOut">
              <a:rPr lang="de-DE" smtClean="0"/>
              <a:t>06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29CCB011-1079-496D-AA0E-A31E25E65FB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de"/>
              <a:t>Textmasterformat bearbeiten</a:t>
            </a:r>
          </a:p>
          <a:p>
            <a:pPr lvl="1" rtl="0"/>
            <a:r>
              <a:rPr lang="de"/>
              <a:t>Zweite Ebene</a:t>
            </a:r>
          </a:p>
          <a:p>
            <a:pPr lvl="2" rtl="0"/>
            <a:r>
              <a:rPr lang="de"/>
              <a:t>Dritte Ebene</a:t>
            </a:r>
          </a:p>
          <a:p>
            <a:pPr lvl="3" rtl="0"/>
            <a:r>
              <a:rPr lang="de"/>
              <a:t>Vierte Ebene</a:t>
            </a:r>
          </a:p>
          <a:p>
            <a:pPr lvl="4" rtl="0"/>
            <a:r>
              <a:rPr lang="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NUL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NULL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NUL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NUL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NULL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NULL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NUL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NUL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NULL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5.xml"/><Relationship Id="rId7" Type="http://schemas.openxmlformats.org/officeDocument/2006/relationships/image" Target="../media/image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NULL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NUL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NUL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1.xml"/><Relationship Id="rId7" Type="http://schemas.openxmlformats.org/officeDocument/2006/relationships/image" Target="../media/image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NULL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NULL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5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NUL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NULL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NUL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1.xml"/><Relationship Id="rId7" Type="http://schemas.openxmlformats.org/officeDocument/2006/relationships/image" Target="../media/image3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NUL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NUL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NUL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NUL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de.pinterest.com/tesaDIY" TargetMode="External"/><Relationship Id="rId3" Type="http://schemas.openxmlformats.org/officeDocument/2006/relationships/tags" Target="../tags/tag111.xml"/><Relationship Id="rId7" Type="http://schemas.openxmlformats.org/officeDocument/2006/relationships/hyperlink" Target="http://www.tesa.com/" TargetMode="External"/><Relationship Id="rId12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channel/UCxE8yjhhxL95tfua3bAH6yg" TargetMode="External"/><Relationship Id="rId5" Type="http://schemas.openxmlformats.org/officeDocument/2006/relationships/oleObject" Target="../embeddings/oleObject55.bin"/><Relationship Id="rId10" Type="http://schemas.openxmlformats.org/officeDocument/2006/relationships/hyperlink" Target="https://twitter.com/tesa_press" TargetMode="External"/><Relationship Id="rId4" Type="http://schemas.openxmlformats.org/officeDocument/2006/relationships/slideMaster" Target="../slideMasters/slideMaster1.xml"/><Relationship Id="rId9" Type="http://schemas.openxmlformats.org/officeDocument/2006/relationships/hyperlink" Target="https://www.facebook.com/tesa.international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esa" TargetMode="External"/><Relationship Id="rId3" Type="http://schemas.openxmlformats.org/officeDocument/2006/relationships/tags" Target="../tags/tag113.xml"/><Relationship Id="rId7" Type="http://schemas.openxmlformats.org/officeDocument/2006/relationships/hyperlink" Target="http://www.tesa.cn/" TargetMode="Externa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NUL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NUL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de"/>
              <a:t>Title slide with taped headline, Arial Narrow 36 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de"/>
              <a:t>Content slide,</a:t>
            </a:r>
            <a:r>
              <a:rPr lang="de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de"/>
              <a:t>Content slide two boxes,</a:t>
            </a:r>
            <a:r>
              <a:rPr lang="de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  <a:p>
            <a:pPr lvl="4" rtl="0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de"/>
              <a:t>Content slide three boxes,</a:t>
            </a:r>
            <a:r>
              <a:rPr lang="de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  <a:p>
            <a:pPr lvl="4" rtl="0"/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de" noProof="0"/>
              <a:t>Only titl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de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de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/>
            </a:lvl1pPr>
          </a:lstStyle>
          <a:p>
            <a:pPr rtl="0"/>
            <a:r>
              <a:rPr lang="de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de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de" noProof="0"/>
              <a:t>Subheading, Arial Regular 16 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de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Content slide with taped headline,</a:t>
            </a:r>
            <a:r>
              <a:rPr lang="de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de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Content slide with taped headline and two boxes,</a:t>
            </a:r>
            <a:r>
              <a:rPr lang="de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</a:p>
          <a:p>
            <a:pPr lvl="4"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Only title with taped headlin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rtlCol="0" anchor="ctr"/>
          <a:lstStyle>
            <a:lvl1pPr algn="ctr">
              <a:defRPr/>
            </a:lvl1pPr>
          </a:lstStyle>
          <a:p>
            <a:pPr rtl="0"/>
            <a:r>
              <a:rPr lang="de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de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de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de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de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de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de" noProof="0"/>
              <a:t>Title slide white text, max. 2 lines,</a:t>
            </a:r>
            <a:br>
              <a:rPr lang="en-US" noProof="0"/>
            </a:br>
            <a:r>
              <a:rPr lang="de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de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de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de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, Arial Regular 14 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de"/>
              <a:t>ontent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de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 rtl="0"/>
            <a:r>
              <a:rPr lang="de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 rtlCol="0">
            <a:normAutofit/>
          </a:bodyPr>
          <a:lstStyle>
            <a:lvl1pPr>
              <a:defRPr sz="100"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Arial Narrow 36 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  <a:endParaRPr lang="en-GB" noProof="0"/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de" noProof="0"/>
              <a:t>Content text, Arial Regular 14 pt</a:t>
            </a:r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rtl="0"/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de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Fullsize picture</a:t>
            </a:r>
            <a:br>
              <a:rPr lang="en-GB"/>
            </a:br>
            <a:r>
              <a:rPr lang="de"/>
              <a:t>with blue box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and </a:t>
            </a:r>
            <a:br>
              <a:rPr lang="en-GB"/>
            </a:br>
            <a:r>
              <a:rPr lang="de"/>
              <a:t>blue box right </a:t>
            </a:r>
            <a:br>
              <a:rPr lang="en-GB"/>
            </a:br>
            <a:r>
              <a:rPr lang="de"/>
              <a:t>with key message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with blue </a:t>
            </a:r>
            <a:br>
              <a:rPr lang="en-GB"/>
            </a:br>
            <a:r>
              <a:rPr lang="de"/>
              <a:t>and white box right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de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de" noProof="0"/>
              <a:t>Title slide dark text, max. 2 lines,</a:t>
            </a:r>
            <a:br>
              <a:rPr lang="en-GB" noProof="0"/>
            </a:br>
            <a:r>
              <a:rPr lang="de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with blue </a:t>
            </a:r>
            <a:br>
              <a:rPr lang="en-GB"/>
            </a:br>
            <a:r>
              <a:rPr lang="de"/>
              <a:t>and white box left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and </a:t>
            </a:r>
            <a:br>
              <a:rPr lang="en-GB"/>
            </a:br>
            <a:r>
              <a:rPr lang="de"/>
              <a:t>blue box left </a:t>
            </a:r>
            <a:br>
              <a:rPr lang="en-GB"/>
            </a:br>
            <a:r>
              <a:rPr lang="de"/>
              <a:t>with key message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en-GB" smtClean="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Blue box left </a:t>
            </a:r>
            <a:br>
              <a:rPr lang="en-GB"/>
            </a:br>
            <a:r>
              <a:rPr lang="de"/>
              <a:t>with key message 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de" noProof="0"/>
              <a:t>Content text, Arial Regular 14 pt</a:t>
            </a:r>
            <a:endParaRPr lang="en-GB" noProof="0"/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de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and </a:t>
            </a:r>
            <a:br>
              <a:rPr lang="en-GB"/>
            </a:br>
            <a:r>
              <a:rPr lang="de"/>
              <a:t>blue box right </a:t>
            </a:r>
            <a:br>
              <a:rPr lang="en-GB"/>
            </a:br>
            <a:r>
              <a:rPr lang="de"/>
              <a:t>with key message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and </a:t>
            </a:r>
            <a:br>
              <a:rPr lang="en-GB"/>
            </a:br>
            <a:r>
              <a:rPr lang="de"/>
              <a:t>blue box right </a:t>
            </a:r>
            <a:br>
              <a:rPr lang="en-GB"/>
            </a:br>
            <a:r>
              <a:rPr lang="de"/>
              <a:t>with key message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de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and </a:t>
            </a:r>
            <a:br>
              <a:rPr lang="en-GB"/>
            </a:br>
            <a:r>
              <a:rPr lang="de"/>
              <a:t>blue box left </a:t>
            </a:r>
            <a:br>
              <a:rPr lang="en-GB"/>
            </a:br>
            <a:r>
              <a:rPr lang="de"/>
              <a:t>with key message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  <a:endParaRPr lang="de-DE"/>
          </a:p>
          <a:p>
            <a:pPr lvl="1" rtl="0"/>
            <a:r>
              <a:rPr lang="de"/>
              <a:t>Content bullet</a:t>
            </a:r>
            <a:endParaRPr lang="de-DE"/>
          </a:p>
          <a:p>
            <a:pPr lvl="2" rtl="0"/>
            <a:r>
              <a:rPr lang="de"/>
              <a:t>Content bullet</a:t>
            </a:r>
            <a:endParaRPr lang="de-DE"/>
          </a:p>
          <a:p>
            <a:pPr lvl="3" rtl="0"/>
            <a:r>
              <a:rPr lang="de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 rtl="0"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and</a:t>
            </a:r>
            <a:br>
              <a:rPr lang="en-US"/>
            </a:br>
            <a:r>
              <a:rPr lang="de"/>
              <a:t>blue box left </a:t>
            </a:r>
            <a:br>
              <a:rPr lang="en-US"/>
            </a:br>
            <a:r>
              <a:rPr lang="de"/>
              <a:t>with key message,</a:t>
            </a:r>
            <a:br>
              <a:rPr lang="en-US"/>
            </a:br>
            <a:r>
              <a:rPr lang="de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 rtl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de"/>
              <a:t>Content text, Arial Regular 14 pt</a:t>
            </a:r>
          </a:p>
          <a:p>
            <a:pPr lvl="1" rtl="0"/>
            <a:r>
              <a:rPr lang="de"/>
              <a:t>Content bullet</a:t>
            </a:r>
          </a:p>
          <a:p>
            <a:pPr lvl="2" rtl="0"/>
            <a:r>
              <a:rPr lang="de"/>
              <a:t>Content bullet</a:t>
            </a:r>
          </a:p>
          <a:p>
            <a:pPr lvl="3" rtl="0"/>
            <a:r>
              <a:rPr lang="de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right with </a:t>
            </a:r>
            <a:br>
              <a:rPr lang="en-GB"/>
            </a:br>
            <a:r>
              <a:rPr lang="de"/>
              <a:t>white background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" noProof="0"/>
              <a:t>Content text, Arial Regular 14 pt</a:t>
            </a:r>
            <a:endParaRPr lang="en-GB" noProof="0"/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left with </a:t>
            </a:r>
            <a:br>
              <a:rPr lang="en-GB"/>
            </a:br>
            <a:r>
              <a:rPr lang="de"/>
              <a:t>white background,</a:t>
            </a:r>
            <a:br>
              <a:rPr lang="en-GB"/>
            </a:br>
            <a:r>
              <a:rPr lang="de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" noProof="0"/>
              <a:t>Content text, Arial Regular 14 pt</a:t>
            </a:r>
            <a:endParaRPr lang="en-GB" noProof="0"/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/>
              <a:t>Picture with white background, Arial Narrow 24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de" noProof="0"/>
              <a:t>Content text, Arial Regular 14 pt</a:t>
            </a:r>
            <a:endParaRPr lang="en-GB" noProof="0"/>
          </a:p>
          <a:p>
            <a:pPr lvl="1" rtl="0"/>
            <a:r>
              <a:rPr lang="de" noProof="0"/>
              <a:t>Content bullet, Arial Regular 14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 rtl="0"/>
            <a:r>
              <a:rPr lang="de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de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de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 rtlCol="0"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 rtl="0"/>
            <a:r>
              <a:rPr lang="de"/>
              <a:t>„Quote with fullsize picture,</a:t>
            </a:r>
            <a:br>
              <a:rPr lang="en-US"/>
            </a:br>
            <a:r>
              <a:rPr lang="de"/>
              <a:t>Arial Narrow 32 pt“</a:t>
            </a:r>
          </a:p>
          <a:p>
            <a:pPr lvl="1" rtl="0"/>
            <a:r>
              <a:rPr lang="de" sz="1600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 rtlCol="0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pPr rtl="0"/>
            <a:r>
              <a:rPr lang="de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 rtl="0"/>
            <a:r>
              <a:rPr lang="de" noProof="0"/>
              <a:t>Content text, Arial Regular 14 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 rtlCol="0"/>
          <a:lstStyle>
            <a:lvl1pPr rtl="0">
              <a:defRPr sz="4400" b="0"/>
            </a:lvl1pPr>
          </a:lstStyle>
          <a:p>
            <a:pPr rtl="0"/>
            <a:r>
              <a:rPr lang="de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de" noProof="0"/>
              <a:t>Content text, Arial Regular 16 pt</a:t>
            </a:r>
          </a:p>
          <a:p>
            <a:pPr lvl="1" rtl="0"/>
            <a:r>
              <a:rPr lang="de" noProof="0"/>
              <a:t>Content bullet, Arial Regular 16 pt </a:t>
            </a:r>
          </a:p>
          <a:p>
            <a:pPr lvl="2" rtl="0"/>
            <a:r>
              <a:rPr lang="de" noProof="0"/>
              <a:t>Content bullet</a:t>
            </a:r>
          </a:p>
          <a:p>
            <a:pPr lvl="3" rtl="0"/>
            <a:r>
              <a:rPr lang="de" noProof="0"/>
              <a:t>Content bullet</a:t>
            </a:r>
          </a:p>
          <a:p>
            <a:pPr lvl="4" rtl="0"/>
            <a:r>
              <a:rPr lang="de" noProof="0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Thank you for your attention,</a:t>
            </a:r>
            <a:br>
              <a:rPr lang="en-GB" noProof="0"/>
            </a:br>
            <a:r>
              <a:rPr lang="de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rtl="0"/>
            <a:r>
              <a:rPr lang="de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de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8" name="Freeform 5">
            <a:hlinkClick r:id="rId8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1" name="Freeform 9">
            <a:hlinkClick r:id="rId9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4" name="Freeform 13">
            <a:hlinkClick r:id="rId10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34" name="Freeform 17">
            <a:hlinkClick r:id="rId11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51" name="Freeform 21">
            <a:hlinkClick r:id="rId12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QR </a:t>
            </a:r>
            <a:br>
              <a:rPr lang="en-GB"/>
            </a:br>
            <a:r>
              <a:rPr lang="de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de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8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de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de"/>
              <a:t>QR </a:t>
            </a:r>
            <a:br>
              <a:rPr lang="en-GB"/>
            </a:br>
            <a:r>
              <a:rPr lang="de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de"/>
              <a:t>Learn more about our company</a:t>
            </a:r>
            <a:br>
              <a:rPr lang="en-GB"/>
            </a:br>
            <a:r>
              <a:rPr lang="de"/>
              <a:t>Please enter your UR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de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e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C234E5-33F5-4408-9231-62FD3F1E43C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de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de" sz="2400"/>
              <a:t>The information is proprietary to tesa SE. Any disclosure, use, copying </a:t>
            </a:r>
            <a:br>
              <a:rPr lang="en-US" sz="2400"/>
            </a:br>
            <a:r>
              <a:rPr lang="de" sz="2400"/>
              <a:t>or distribution of the contents of this document, in whole or part, is strictly </a:t>
            </a:r>
            <a:br>
              <a:rPr lang="en-US" sz="2400"/>
            </a:br>
            <a:r>
              <a:rPr lang="de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de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de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de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rtlCol="0" anchor="ctr" anchorCtr="0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de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de"/>
              <a:t>Agenda with picture, </a:t>
            </a:r>
            <a:r>
              <a:rPr lang="de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de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de" noProof="0"/>
              <a:t>Chapter name</a:t>
            </a:r>
            <a:br>
              <a:rPr lang="en-GB" noProof="0"/>
            </a:br>
            <a:r>
              <a:rPr lang="de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de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de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63" imgW="270" imgH="270" progId="TCLayout.ActiveDocument.1">
                  <p:embed/>
                </p:oleObj>
              </mc:Choice>
              <mc:Fallback>
                <p:oleObj name="think-cell Folie" r:id="rId6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de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de"/>
              <a:t>Content text, Arial Regular 14pt</a:t>
            </a:r>
          </a:p>
          <a:p>
            <a:pPr lvl="1" rtl="0"/>
            <a:r>
              <a:rPr lang="de"/>
              <a:t>Content bullet, Arial Regular 14pt </a:t>
            </a:r>
          </a:p>
          <a:p>
            <a:pPr lvl="2" rtl="0"/>
            <a:r>
              <a:rPr lang="de"/>
              <a:t>Content bullet</a:t>
            </a:r>
            <a:endParaRPr lang="en-US" noProof="0"/>
          </a:p>
          <a:p>
            <a:pPr lvl="3" rtl="0"/>
            <a:r>
              <a:rPr lang="de"/>
              <a:t>Content bullet</a:t>
            </a:r>
            <a:endParaRPr lang="en-US" noProof="0"/>
          </a:p>
          <a:p>
            <a:pPr lvl="4" rtl="0"/>
            <a:r>
              <a:rPr lang="de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de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de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61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4" y="1404897"/>
            <a:ext cx="2769996" cy="626701"/>
          </a:xfrm>
        </p:spPr>
        <p:txBody>
          <a:bodyPr rtlCol="0"/>
          <a:lstStyle/>
          <a:p>
            <a:pPr rtl="0"/>
            <a:r>
              <a:rPr lang="de" dirty="0"/>
              <a:t>100 % Origin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3397794" cy="626701"/>
          </a:xfrm>
        </p:spPr>
        <p:txBody>
          <a:bodyPr rtlCol="0"/>
          <a:lstStyle/>
          <a:p>
            <a:pPr rtl="0"/>
            <a:r>
              <a:rPr lang="de" dirty="0"/>
              <a:t>40 % weniger CO</a:t>
            </a:r>
            <a:r>
              <a:rPr lang="de" sz="3600" baseline="-25000" dirty="0"/>
              <a:t>2</a:t>
            </a:r>
            <a:r>
              <a:rPr lang="de" dirty="0"/>
              <a:t>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2920122" cy="626701"/>
          </a:xfrm>
        </p:spPr>
        <p:txBody>
          <a:bodyPr rtlCol="0"/>
          <a:lstStyle/>
          <a:p>
            <a:pPr rtl="0"/>
            <a:r>
              <a:rPr lang="de" dirty="0"/>
              <a:t>Das macht Sin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rtlCol="0" anchor="t">
            <a:spAutoFit/>
          </a:bodyPr>
          <a:lstStyle/>
          <a:p>
            <a:pPr rtl="0"/>
            <a:r>
              <a:rPr lang="de">
                <a:solidFill>
                  <a:schemeClr val="bg1"/>
                </a:solidFill>
                <a:cs typeface="Arial"/>
              </a:rPr>
              <a:t>Ressourcen und Factsheet</a:t>
            </a:r>
            <a:endParaRPr lang="en-GB">
              <a:solidFill>
                <a:schemeClr val="bg1"/>
              </a:solidFill>
            </a:endParaRP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rtlCol="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de" sz="3200" b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de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de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 Next Gen</a:t>
              </a:r>
              <a:r>
                <a:rPr lang="de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1274790"/>
              <a:ext cx="4363033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de" sz="2800" dirty="0"/>
                <a:t>Gleicher Wert, nur weniger CO</a:t>
              </a:r>
              <a:r>
                <a:rPr lang="de" sz="2800" baseline="-25000" dirty="0"/>
                <a:t>2</a:t>
              </a:r>
              <a:endParaRPr lang="en-GB"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de" sz="2200"/>
              <a:t> -40 %* CO</a:t>
            </a:r>
            <a:r>
              <a:rPr lang="de" sz="2200" baseline="-25000"/>
              <a:t>2</a:t>
            </a:r>
            <a:r>
              <a:rPr lang="de" sz="2200"/>
              <a:t> basierend auf Zahlen aus einer nach ISO 14067 verifizierten Studie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de" sz="2200"/>
              <a:t>Biomassenbilanzierte Klebstoffkomponenten und 90 % PCR-PET im Trägermaterial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de" sz="2200"/>
              <a:t>In Tests genauso zuverlässig wie die Vorgängerversion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de" sz="800" kern="0">
                <a:latin typeface="Arial"/>
                <a:ea typeface="Calibri"/>
                <a:cs typeface="Times New Roman"/>
              </a:rPr>
              <a:t>* Reduktion des Product Carbon Footprint (PCF) bei der neuen tesa® 4965 Original Next Gen (50 m x 50 mm Handrolle, PV0: roter MOPP-Liner) im Vergleich zum aktuellen tesa® 4965 Original (50 m x 50 mm Handrolle, PV0: roter MOPP-Liner), berechnet 2023 mit Cradle-to-Gate-Werten inklusive biogener Kohlenstoffaufnahme. Individuelle PCF-Werte für die anderen Liner-Typen (PV1, PV2, PV4) und weitere Informationen finden Sie in unserer ISO-14067-konformen vergleichenden PCF-Berechnung auf </a:t>
            </a:r>
            <a:r>
              <a:rPr lang="de" sz="800" kern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de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– </a:t>
            </a:r>
            <a:fld id="{94A6D44E-0BF8-4A10-A708-3AB32E33FA71}" type="slidenum">
              <a:rPr lang="en-US" smtClean="0"/>
              <a:pPr/>
              <a:t>2</a:t>
            </a:fld>
            <a:r>
              <a:rPr lang="de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376570" y="1995145"/>
            <a:ext cx="707741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142966"/>
            <a:ext cx="3671887" cy="4198915"/>
          </a:xfrm>
          <a:noFill/>
        </p:spPr>
        <p:txBody>
          <a:bodyPr bIns="144000" rtlCol="0"/>
          <a:lstStyle/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de" sz="1400" b="0" dirty="0">
                <a:solidFill>
                  <a:schemeClr val="tx1"/>
                </a:solidFill>
              </a:rPr>
              <a:t>Enthält biomassenbilanzierte Klebstoffkomponenten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de" sz="1400" b="0" dirty="0">
                <a:solidFill>
                  <a:schemeClr val="tx1"/>
                </a:solidFill>
              </a:rPr>
              <a:t>Nichtfossile Rohstoffe werden in gleichwertigen Produktionsmengen eingesetzt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de" sz="1400" b="0" dirty="0">
                <a:solidFill>
                  <a:schemeClr val="tx1"/>
                </a:solidFill>
              </a:rPr>
              <a:t>Die Komponenten werden von ISCC PLUS nachverfolgt, überprüft und zertifiziert. 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de" sz="1400" b="0" dirty="0">
                <a:solidFill>
                  <a:schemeClr val="tx1"/>
                </a:solidFill>
              </a:rPr>
              <a:t>Sicherstellung, dass die gesamte Lieferkette ausreichend biomassenbilanzierte Klebstoffkomponenten enthält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de" sz="1400" b="0" dirty="0">
                <a:solidFill>
                  <a:schemeClr val="tx1"/>
                </a:solidFill>
              </a:rPr>
              <a:t>Ermöglicht den Kunden die Entwicklung nachhaltigerer Produkte in ihrer eigenen Wertschöpfungskette und unterstützt so die Nachhaltigkeitszie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rtlCol="0" anchor="ctr">
            <a:normAutofit/>
          </a:bodyPr>
          <a:lstStyle/>
          <a:p>
            <a:pPr rtl="0"/>
            <a:r>
              <a:rPr lang="de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de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de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de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4817162" cy="565146"/>
          </a:xfrm>
        </p:spPr>
        <p:txBody>
          <a:bodyPr rtlCol="0"/>
          <a:lstStyle/>
          <a:p>
            <a:pPr rtl="0"/>
            <a:r>
              <a:rPr lang="de" sz="3200" dirty="0"/>
              <a:t>Von der Quelle zum Klebeban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de"/>
              <a:t>– </a:t>
            </a:r>
            <a:fld id="{94A6D44E-0BF8-4A10-A708-3AB32E33FA71}" type="slidenum">
              <a:rPr lang="en-US" smtClean="0"/>
              <a:t>3</a:t>
            </a:fld>
            <a:r>
              <a:rPr lang="de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49964" y="-1"/>
            <a:ext cx="5275039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rtl="0"/>
            <a:endParaRPr lang="en-US" sz="2400"/>
          </a:p>
          <a:p>
            <a:pPr rtl="0"/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 rtlCol="0"/>
          <a:lstStyle/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de" sz="1800"/>
              <a:t>Die gleiche Produktspezifikation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de" sz="1800"/>
              <a:t>Die gleiche Leistung wie tesa</a:t>
            </a:r>
            <a:r>
              <a:rPr lang="de" sz="1800" baseline="30000"/>
              <a:t>®</a:t>
            </a:r>
            <a:r>
              <a:rPr lang="de" sz="1800"/>
              <a:t> 4965 Original 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de" sz="1800"/>
              <a:t>Vergleich der Reißkraft des mit 90 % PCR-PET beschichteten Klebebandes mit der des ursprünglichen PET-Trägers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de" sz="1800"/>
              <a:t>Gleicher Reißdehnungsprozentsatz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de" sz="1800"/>
              <a:t>Gleiche Schälhaftu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 rtlCol="0">
            <a:normAutofit fontScale="90000"/>
          </a:bodyPr>
          <a:lstStyle/>
          <a:p>
            <a:pPr rtl="0"/>
            <a:r>
              <a:rPr lang="de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de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de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de" sz="3100" b="1">
                <a:latin typeface="Arial" panose="020B0604020202020204" pitchFamily="34" charset="0"/>
                <a:ea typeface="Calibri" panose="020F0502020204030204" pitchFamily="34" charset="0"/>
              </a:rPr>
              <a:t>versus tesa</a:t>
            </a:r>
            <a:r>
              <a:rPr lang="de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de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de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de" sz="3000"/>
              <a:t>Dasselbe Klebeband. Die gleiche zuverlässige Leistung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– </a:t>
            </a:r>
            <a:fld id="{94A6D44E-0BF8-4A10-A708-3AB32E33FA71}" type="slidenum">
              <a:rPr lang="en-US" smtClean="0"/>
              <a:t>4</a:t>
            </a:fld>
            <a:r>
              <a:rPr lang="de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354491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de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de" sz="32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de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de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de" sz="2800" dirty="0"/>
              <a:t>100 % Original. 40 %* weniger CO</a:t>
            </a:r>
            <a:r>
              <a:rPr lang="de" sz="2800" baseline="-25000" dirty="0"/>
              <a:t>2</a:t>
            </a:r>
            <a:r>
              <a:rPr lang="de" sz="2800" dirty="0"/>
              <a:t>. </a:t>
            </a:r>
            <a:br>
              <a:rPr lang="de" sz="2800" dirty="0"/>
            </a:br>
            <a:r>
              <a:rPr lang="de" sz="2800" dirty="0"/>
              <a:t>Das macht Sinn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68362" y="2631668"/>
            <a:ext cx="6021614" cy="2677656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de" sz="2200" dirty="0"/>
              <a:t>tesa</a:t>
            </a:r>
            <a:r>
              <a:rPr lang="de" sz="24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de" sz="2200" dirty="0"/>
              <a:t> 4965 Original – ein bewährtes Band seit vier Jahrzehnten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de" sz="2200" dirty="0"/>
              <a:t>Eine zuverlässige Lösung für viele Branchen und Anwendungen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de" sz="2200" dirty="0"/>
              <a:t>Jetzt als nächste Generation erhältlich – tesa</a:t>
            </a:r>
            <a:r>
              <a:rPr lang="de" sz="2200" baseline="30000" dirty="0"/>
              <a:t>®</a:t>
            </a:r>
            <a:r>
              <a:rPr lang="de" sz="2200" dirty="0"/>
              <a:t> 4965 Next Gen – mit einer Reduzierung der CO</a:t>
            </a:r>
            <a:r>
              <a:rPr lang="de" sz="2400" baseline="-25000" dirty="0"/>
              <a:t>2</a:t>
            </a:r>
            <a:r>
              <a:rPr lang="de" sz="2200" dirty="0"/>
              <a:t>-Emissionen um 40 %*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800"/>
              </a:spcAft>
            </a:pPr>
            <a:r>
              <a:rPr lang="de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 Reduktion des Product Carbon Footprint (PCF) bei der neuen tesa® 4965 Original Next Gen (50 m x 50 mm Handrolle, PV0: roter MOPP-Liner) im Vergleich zum aktuellen tesa® 4965 Original (50 m x 50 mm Handrolle, PV0: roter MOPP-Liner), berechnet 2023 mit Cradle-to-Gate-Werten inklusive biogener Kohlenstoffaufnahme. Individuelle PCF-Werte für die anderen Liner-Typen (PV1, PV2, PV4) und weitere Informationen finden Sie in unserer ISO 14067-konformen vergleichenden PCF-Berechnung auf tesa.com/4965-report.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– </a:t>
            </a:r>
            <a:fld id="{94A6D44E-0BF8-4A10-A708-3AB32E33FA71}" type="slidenum">
              <a:rPr lang="en-US" smtClean="0"/>
              <a:pPr/>
              <a:t>5</a:t>
            </a:fld>
            <a:r>
              <a:rPr lang="de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e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de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de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de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de" sz="2800"/>
              <a:t>Gleiche vielseitige Anwendung.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de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uftfahrt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de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efestigung von LED-Beleuchtung am Boden von Verkehrsflugzeugen.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de" sz="2200" b="1">
                  <a:solidFill>
                    <a:schemeClr val="bg1"/>
                  </a:solidFill>
                  <a:latin typeface="Arial"/>
                  <a:cs typeface="Arial"/>
                </a:rPr>
                <a:t>Point of Sale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de" sz="1600">
                  <a:solidFill>
                    <a:schemeClr val="bg1"/>
                  </a:solidFill>
                  <a:latin typeface="Arial"/>
                  <a:cs typeface="Arial"/>
                </a:rPr>
                <a:t>Befestigung von Preisangaben in einer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" sz="1600">
                  <a:solidFill>
                    <a:schemeClr val="bg1"/>
                  </a:solidFill>
                  <a:latin typeface="Arial"/>
                  <a:cs typeface="Arial"/>
                </a:rPr>
                <a:t>Einzelhandelsumgebung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de" sz="2200" b="1">
                  <a:solidFill>
                    <a:schemeClr val="bg1"/>
                  </a:solidFill>
                  <a:latin typeface="Arial"/>
                  <a:cs typeface="Arial"/>
                </a:rPr>
                <a:t>Elektronische Geräte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de" sz="1600">
                  <a:solidFill>
                    <a:schemeClr val="bg1"/>
                  </a:solidFill>
                  <a:latin typeface="Arial"/>
                  <a:cs typeface="Arial"/>
                </a:rPr>
                <a:t>Befestigung kleiner (und kniffliger) Bauteile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de" sz="2200" b="1">
                  <a:solidFill>
                    <a:schemeClr val="bg1"/>
                  </a:solidFill>
                  <a:latin typeface="Arial"/>
                  <a:cs typeface="Arial"/>
                </a:rPr>
                <a:t>Logistik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de" sz="1600">
                  <a:solidFill>
                    <a:schemeClr val="bg1"/>
                  </a:solidFill>
                  <a:latin typeface="Arial"/>
                  <a:cs typeface="Arial"/>
                </a:rPr>
                <a:t>Verschluss von Verpackungen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de" sz="2200" b="1">
                  <a:solidFill>
                    <a:schemeClr val="bg1"/>
                  </a:solidFill>
                  <a:latin typeface="Arial"/>
                  <a:cs typeface="Arial"/>
                </a:rPr>
                <a:t>Bau- und Möbelkomponenten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de" sz="1600">
                  <a:solidFill>
                    <a:schemeClr val="bg1"/>
                  </a:solidFill>
                  <a:latin typeface="Arial"/>
                  <a:cs typeface="Arial"/>
                </a:rPr>
                <a:t>Maximale Klebesicherheit für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" sz="1600" spc="-20">
                  <a:solidFill>
                    <a:schemeClr val="bg1"/>
                  </a:solidFill>
                  <a:latin typeface="Arial"/>
                  <a:cs typeface="Arial"/>
                </a:rPr>
                <a:t>Möbelelemente und im Innenausbau</a:t>
              </a:r>
              <a:r>
                <a:rPr lang="de" sz="1600">
                  <a:solidFill>
                    <a:schemeClr val="bg1"/>
                  </a:solidFill>
                  <a:latin typeface="Arial"/>
                  <a:cs typeface="Arial"/>
                </a:rPr>
                <a:t>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r>
              <a:rPr lang="de"/>
              <a:t>– </a:t>
            </a:r>
            <a:fld id="{94A6D44E-0BF8-4A10-A708-3AB32E33FA71}" type="slidenum">
              <a:rPr lang="en-US" smtClean="0"/>
              <a:t>6</a:t>
            </a:fld>
            <a:r>
              <a:rPr lang="de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800493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de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de" sz="3200" b="1" baseline="300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de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de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de" sz="2000"/>
              <a:t>Die gleiche zuverlässige Leistung. 40 %* weniger CO</a:t>
            </a:r>
            <a:r>
              <a:rPr lang="de" sz="2000" baseline="-25000"/>
              <a:t>2</a:t>
            </a:r>
            <a:r>
              <a:rPr lang="de" sz="2000"/>
              <a:t>. Das macht Sinn.</a:t>
            </a:r>
            <a:br>
              <a:rPr lang="en-US" sz="2800"/>
            </a:br>
            <a:endParaRPr lang="en-GB" sz="2800"/>
          </a:p>
          <a:p>
            <a:pPr rtl="0"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341610"/>
            <a:ext cx="5854480" cy="2923877"/>
          </a:xfr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de" sz="1800" dirty="0">
                <a:cs typeface="Arial"/>
              </a:rPr>
              <a:t>Ähnliche Eigenschaften und Haftungswerte verleihen dem neuen tesa</a:t>
            </a:r>
            <a:r>
              <a:rPr lang="de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de" sz="1800" b="1" dirty="0">
                <a:latin typeface="Arial"/>
                <a:ea typeface="Calibri"/>
                <a:cs typeface="Arial"/>
              </a:rPr>
              <a:t> </a:t>
            </a:r>
            <a:r>
              <a:rPr lang="de" sz="1800" dirty="0">
                <a:cs typeface="Arial"/>
              </a:rPr>
              <a:t>4965 Original Next Gen Klebeband den gleichen Leistungsvorsprung gegenüber anderen Klebebandlösungen wie </a:t>
            </a:r>
            <a:endParaRPr lang="en-US" sz="1800" dirty="0"/>
          </a:p>
          <a:p>
            <a:pPr rtl="0"/>
            <a:r>
              <a:rPr lang="de" sz="1800" dirty="0">
                <a:cs typeface="Arial"/>
              </a:rPr>
              <a:t>tesa</a:t>
            </a:r>
            <a:r>
              <a:rPr lang="de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de" sz="1800" b="1" dirty="0">
                <a:latin typeface="Arial"/>
                <a:ea typeface="Calibri"/>
                <a:cs typeface="Arial"/>
              </a:rPr>
              <a:t> </a:t>
            </a:r>
            <a:r>
              <a:rPr lang="de" sz="1800" dirty="0">
                <a:cs typeface="Arial"/>
              </a:rPr>
              <a:t>4965 Original. </a:t>
            </a:r>
            <a:endParaRPr lang="en-US" sz="1800" dirty="0"/>
          </a:p>
          <a:p>
            <a:pPr rtl="0"/>
            <a:r>
              <a:rPr lang="de" sz="1800" dirty="0">
                <a:cs typeface="Arial"/>
              </a:rPr>
              <a:t>In Kombination mit unserem jahrzehntelangen Branchen-Know-how und unserem Nachhaltigkeitsfokus sind wir auf dem Weg zu einer nachhaltigeren Produktlinie. Das macht einfach Sinn.</a:t>
            </a:r>
          </a:p>
          <a:p>
            <a:pPr rtl="0"/>
            <a:endParaRPr lang="en-US" sz="400" dirty="0"/>
          </a:p>
          <a:p>
            <a:pPr rtl="0"/>
            <a:r>
              <a:rPr lang="de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Besuchen Sie die tesa</a:t>
            </a:r>
            <a:r>
              <a:rPr lang="de" sz="2000" b="1" baseline="30000" dirty="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de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 Seite, um mehr zu erfahren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57149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de" sz="800" kern="0">
                <a:latin typeface="Arial"/>
                <a:ea typeface="Calibri"/>
                <a:cs typeface="Times New Roman"/>
              </a:rPr>
              <a:t>* Reduktion des Product Carbon Footprint (PCF) bei der neuen tesa® 4965 Original Next Gen (50 m x 50 mm Handrolle, PV0: roter MOPP-Liner) im Vergleich zum aktuellen tesa® 4965 Original (50 m x 50 mm Handrolle, PV0: roter MOPP-Liner), berechnet 2023 mit Cradle-to-Gate-Werten inklusive biogener Kohlenstoffaufnahme. Individuelle PCF-Werte für die anderen Liner-Typen (PV1, PV2, PV4) und weitere Informationen finden Sie in unserer ISO-14067-konformen vergleichenden PCF-Berechnung auf </a:t>
            </a:r>
            <a:r>
              <a:rPr lang="de" sz="800" kern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de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de"/>
              <a:t>– </a:t>
            </a:r>
            <a:fld id="{94A6D44E-0BF8-4A10-A708-3AB32E33FA71}" type="slidenum">
              <a:rPr lang="en-US" smtClean="0"/>
              <a:pPr/>
              <a:t>7</a:t>
            </a:fld>
            <a:r>
              <a:rPr lang="de"/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759819-f911-4466-a17f-d69c8d4ce877" xsi:nil="true"/>
    <lcf76f155ced4ddcb4097134ff3c332f xmlns="abf64726-9574-4459-b685-4e6164e9b89e">
      <Terms xmlns="http://schemas.microsoft.com/office/infopath/2007/PartnerControls"/>
    </lcf76f155ced4ddcb4097134ff3c332f>
    <Year xmlns="abf64726-9574-4459-b685-4e6164e9b89e" xsi:nil="true"/>
    <Document_x0020_typee xmlns="abf64726-9574-4459-b685-4e6164e9b89e" xsi:nil="true"/>
    <Tag xmlns="abf64726-9574-4459-b685-4e6164e9b89e" xsi:nil="true"/>
    <Thumbnail xmlns="abf64726-9574-4459-b685-4e6164e9b89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71072ACD4BCC4CA0F8FFE331255C60" ma:contentTypeVersion="27" ma:contentTypeDescription="Create a new document." ma:contentTypeScope="" ma:versionID="35c63e0a0be9f381e625f9cd7b750aad">
  <xsd:schema xmlns:xsd="http://www.w3.org/2001/XMLSchema" xmlns:xs="http://www.w3.org/2001/XMLSchema" xmlns:p="http://schemas.microsoft.com/office/2006/metadata/properties" xmlns:ns2="e6759819-f911-4466-a17f-d69c8d4ce877" xmlns:ns3="abf64726-9574-4459-b685-4e6164e9b89e" targetNamespace="http://schemas.microsoft.com/office/2006/metadata/properties" ma:root="true" ma:fieldsID="82faa0828a6d309498b1cff7d0c97f9e" ns2:_="" ns3:_="">
    <xsd:import namespace="e6759819-f911-4466-a17f-d69c8d4ce877"/>
    <xsd:import namespace="abf64726-9574-4459-b685-4e6164e9b89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Document_x0020_typee" minOccurs="0"/>
                <xsd:element ref="ns3:Tag" minOccurs="0"/>
                <xsd:element ref="ns2:SharedWithUsers" minOccurs="0"/>
                <xsd:element ref="ns2:SharedWithDetails" minOccurs="0"/>
                <xsd:element ref="ns3:MediaLengthInSeconds" minOccurs="0"/>
                <xsd:element ref="ns3:Thumbnail" minOccurs="0"/>
                <xsd:element ref="ns3:Year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59819-f911-4466-a17f-d69c8d4ce877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59352219-6375-4bb3-ad35-de287b977f5c}" ma:internalName="TaxCatchAll" ma:showField="CatchAllData" ma:web="e6759819-f911-4466-a17f-d69c8d4ce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64726-9574-4459-b685-4e6164e9b8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8" nillable="true" ma:displayName="Tags 1" ma:description="" ma:internalName="MediaServiceAutoTags" ma:readOnly="true">
      <xsd:simpleType>
        <xsd:restriction base="dms:Text"/>
      </xsd:simpleType>
    </xsd:element>
    <xsd:element name="MediaServiceGenerationTime" ma:index="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cument_x0020_typee" ma:index="18" nillable="true" ma:displayName="Document type" ma:format="Dropdown" ma:internalName="Document_x0020_type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uideline"/>
                    <xsd:enumeration value="Overview"/>
                    <xsd:enumeration value="Planning"/>
                    <xsd:enumeration value="Template"/>
                    <xsd:enumeration value="Best Practice"/>
                    <xsd:enumeration value="Marketing Material"/>
                    <xsd:enumeration value="Customer presentation"/>
                    <xsd:enumeration value="Launch/Market Package"/>
                    <xsd:enumeration value="Certificate/Technical Data"/>
                    <xsd:enumeration value="Training material"/>
                    <xsd:enumeration value="Working file"/>
                    <xsd:enumeration value="Web/Teams link"/>
                    <xsd:enumeration value="Other"/>
                    <xsd:enumeration value="Folder"/>
                    <xsd:enumeration value="Offer"/>
                    <xsd:enumeration value="Appliances"/>
                    <xsd:enumeration value="Auswahl 17"/>
                  </xsd:restriction>
                </xsd:simpleType>
              </xsd:element>
            </xsd:sequence>
          </xsd:extension>
        </xsd:complexContent>
      </xsd:complexType>
    </xsd:element>
    <xsd:element name="Tag" ma:index="19" nillable="true" ma:displayName="Tags" ma:format="Dropdown" ma:internalName="Tag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onverters"/>
                        <xsd:enumeration value="Sustainability"/>
                        <xsd:enumeration value="BSR"/>
                        <xsd:enumeration value="FR"/>
                        <xsd:enumeration value="ECT"/>
                        <xsd:enumeration value="TCT"/>
                        <xsd:enumeration value="HAF"/>
                        <xsd:enumeration value="ID"/>
                        <xsd:enumeration value="Automotive"/>
                        <xsd:enumeration value="Health"/>
                        <xsd:enumeration value="Electronics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Thumbnail" ma:index="23" nillable="true" ma:displayName="Thumbnail" ma:format="Thumbnail" ma:internalName="Thumbnail">
      <xsd:simpleType>
        <xsd:restriction base="dms:Unknown"/>
      </xsd:simpleType>
    </xsd:element>
    <xsd:element name="Year" ma:index="24" nillable="true" ma:displayName="Year" ma:format="Dropdown" ma:internalName="Year">
      <xsd:simpleType>
        <xsd:restriction base="dms:Choice">
          <xsd:enumeration value="2023"/>
          <xsd:enumeration value="2022"/>
          <xsd:enumeration value="2021"/>
          <xsd:enumeration value="2020"/>
          <xsd:enumeration value="2019"/>
          <xsd:enumeration value="2018"/>
          <xsd:enumeration value="2017"/>
          <xsd:enumeration value="2016"/>
          <xsd:enumeration value="201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6759819-f911-4466-a17f-d69c8d4ce877"/>
    <ds:schemaRef ds:uri="abf64726-9574-4459-b685-4e6164e9b89e"/>
  </ds:schemaRefs>
</ds:datastoreItem>
</file>

<file path=customXml/itemProps3.xml><?xml version="1.0" encoding="utf-8"?>
<ds:datastoreItem xmlns:ds="http://schemas.openxmlformats.org/officeDocument/2006/customXml" ds:itemID="{E6116AE0-C905-4228-B417-C0E61813E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59819-f911-4466-a17f-d69c8d4ce877"/>
    <ds:schemaRef ds:uri="abf64726-9574-4459-b685-4e6164e9b8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</TotalTime>
  <Words>689</Words>
  <Application>Microsoft Macintosh PowerPoint</Application>
  <PresentationFormat>Brugerdefineret</PresentationFormat>
  <Paragraphs>53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Times New Roman</vt:lpstr>
      <vt:lpstr>Wingdings</vt:lpstr>
      <vt:lpstr>Template_tesa_16x9</vt:lpstr>
      <vt:lpstr>think-cell Folie</vt:lpstr>
      <vt:lpstr>PowerPoint-præsentation</vt:lpstr>
      <vt:lpstr>PowerPoint-præsentation</vt:lpstr>
      <vt:lpstr>PowerPoint-præsentation</vt:lpstr>
      <vt:lpstr>tesa® 4965 Original Next Gen  versus tesa® 4965 Original   Dasselbe Klebeband. Die gleiche zuverlässige Leistung.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Microsoft Office User</cp:lastModifiedBy>
  <cp:revision>32</cp:revision>
  <dcterms:created xsi:type="dcterms:W3CDTF">2023-05-03T09:17:24Z</dcterms:created>
  <dcterms:modified xsi:type="dcterms:W3CDTF">2024-02-06T14:0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1072ACD4BCC4CA0F8FFE331255C60</vt:lpwstr>
  </property>
  <property fmtid="{D5CDD505-2E9C-101B-9397-08002B2CF9AE}" pid="3" name="MediaServiceImageTags">
    <vt:lpwstr/>
  </property>
</Properties>
</file>